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6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1C986-9664-EEA3-6850-F08BA965E0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BDFC2CA-7681-D2C7-E698-491931D72F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DFC2CA-7681-D2C7-E698-491931D72F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ED52FCF-FC4A-8A3F-7C92-90F1B2E14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3" name="Google Shape;281;p2">
            <a:extLst>
              <a:ext uri="{FF2B5EF4-FFF2-40B4-BE49-F238E27FC236}">
                <a16:creationId xmlns:a16="http://schemas.microsoft.com/office/drawing/2014/main" id="{5E8FA475-2706-331D-1F65-15ED1C684226}"/>
              </a:ext>
            </a:extLst>
          </p:cNvPr>
          <p:cNvSpPr/>
          <p:nvPr/>
        </p:nvSpPr>
        <p:spPr>
          <a:xfrm>
            <a:off x="984140" y="1136157"/>
            <a:ext cx="1731704" cy="1375054"/>
          </a:xfrm>
          <a:prstGeom prst="roundRect">
            <a:avLst>
              <a:gd name="adj" fmla="val 8069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lt1"/>
              </a:solidFill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5" name="Google Shape;282;p2">
            <a:extLst>
              <a:ext uri="{FF2B5EF4-FFF2-40B4-BE49-F238E27FC236}">
                <a16:creationId xmlns:a16="http://schemas.microsoft.com/office/drawing/2014/main" id="{B9364379-D432-1991-4D65-98B94AB22B84}"/>
              </a:ext>
            </a:extLst>
          </p:cNvPr>
          <p:cNvSpPr/>
          <p:nvPr/>
        </p:nvSpPr>
        <p:spPr>
          <a:xfrm>
            <a:off x="685747" y="1466214"/>
            <a:ext cx="2351170" cy="4763811"/>
          </a:xfrm>
          <a:custGeom>
            <a:avLst/>
            <a:gdLst/>
            <a:ahLst/>
            <a:cxnLst/>
            <a:rect l="l" t="t" r="r" b="b"/>
            <a:pathLst>
              <a:path w="2404439" h="4763811" extrusionOk="0">
                <a:moveTo>
                  <a:pt x="180838" y="0"/>
                </a:moveTo>
                <a:lnTo>
                  <a:pt x="663826" y="0"/>
                </a:lnTo>
                <a:lnTo>
                  <a:pt x="671937" y="80460"/>
                </a:lnTo>
                <a:cubicBezTo>
                  <a:pt x="722409" y="327111"/>
                  <a:pt x="940647" y="512652"/>
                  <a:pt x="1202219" y="512652"/>
                </a:cubicBezTo>
                <a:cubicBezTo>
                  <a:pt x="1463792" y="512652"/>
                  <a:pt x="1682029" y="327111"/>
                  <a:pt x="1732501" y="80460"/>
                </a:cubicBezTo>
                <a:lnTo>
                  <a:pt x="1740612" y="0"/>
                </a:lnTo>
                <a:lnTo>
                  <a:pt x="2223601" y="0"/>
                </a:lnTo>
                <a:cubicBezTo>
                  <a:pt x="2323475" y="0"/>
                  <a:pt x="2404439" y="80964"/>
                  <a:pt x="2404439" y="180838"/>
                </a:cubicBezTo>
                <a:lnTo>
                  <a:pt x="2404439" y="4582973"/>
                </a:lnTo>
                <a:cubicBezTo>
                  <a:pt x="2404439" y="4682847"/>
                  <a:pt x="2323475" y="4763811"/>
                  <a:pt x="2223601" y="4763811"/>
                </a:cubicBezTo>
                <a:lnTo>
                  <a:pt x="180838" y="4763811"/>
                </a:lnTo>
                <a:cubicBezTo>
                  <a:pt x="80964" y="4763811"/>
                  <a:pt x="0" y="4682847"/>
                  <a:pt x="0" y="4582973"/>
                </a:cubicBezTo>
                <a:lnTo>
                  <a:pt x="0" y="180838"/>
                </a:lnTo>
                <a:cubicBezTo>
                  <a:pt x="0" y="80964"/>
                  <a:pt x="80964" y="0"/>
                  <a:pt x="180838" y="0"/>
                </a:cubicBez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600" dirty="0">
              <a:solidFill>
                <a:schemeClr val="lt1"/>
              </a:solidFill>
              <a:cs typeface="Arial"/>
              <a:sym typeface="Open Sans"/>
            </a:endParaRPr>
          </a:p>
        </p:txBody>
      </p:sp>
      <p:sp>
        <p:nvSpPr>
          <p:cNvPr id="6" name="Google Shape;283;p2">
            <a:extLst>
              <a:ext uri="{FF2B5EF4-FFF2-40B4-BE49-F238E27FC236}">
                <a16:creationId xmlns:a16="http://schemas.microsoft.com/office/drawing/2014/main" id="{289F81C0-2B7C-A25B-24A4-CACC638B47E8}"/>
              </a:ext>
            </a:extLst>
          </p:cNvPr>
          <p:cNvSpPr txBox="1"/>
          <p:nvPr/>
        </p:nvSpPr>
        <p:spPr>
          <a:xfrm>
            <a:off x="850072" y="2584891"/>
            <a:ext cx="201003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8" name="Google Shape;284;p2">
            <a:extLst>
              <a:ext uri="{FF2B5EF4-FFF2-40B4-BE49-F238E27FC236}">
                <a16:creationId xmlns:a16="http://schemas.microsoft.com/office/drawing/2014/main" id="{571C934E-E84D-BFFD-C880-DA8A4E72DF2A}"/>
              </a:ext>
            </a:extLst>
          </p:cNvPr>
          <p:cNvSpPr txBox="1"/>
          <p:nvPr/>
        </p:nvSpPr>
        <p:spPr>
          <a:xfrm>
            <a:off x="850072" y="2181159"/>
            <a:ext cx="2010031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chemeClr val="accent1"/>
                </a:solidFill>
                <a:ea typeface="Arial"/>
                <a:cs typeface="Arial"/>
                <a:sym typeface="Arial"/>
              </a:rPr>
              <a:t>STRENGTH</a:t>
            </a:r>
            <a:endParaRPr b="1">
              <a:solidFill>
                <a:schemeClr val="accen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Google Shape;285;p2">
            <a:extLst>
              <a:ext uri="{FF2B5EF4-FFF2-40B4-BE49-F238E27FC236}">
                <a16:creationId xmlns:a16="http://schemas.microsoft.com/office/drawing/2014/main" id="{2D810B68-407D-86B4-6207-3766BCC7AEA4}"/>
              </a:ext>
            </a:extLst>
          </p:cNvPr>
          <p:cNvSpPr txBox="1"/>
          <p:nvPr/>
        </p:nvSpPr>
        <p:spPr>
          <a:xfrm>
            <a:off x="1513856" y="1235915"/>
            <a:ext cx="632012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S</a:t>
            </a:r>
            <a:endParaRPr sz="1100"/>
          </a:p>
        </p:txBody>
      </p:sp>
      <p:sp>
        <p:nvSpPr>
          <p:cNvPr id="10" name="Google Shape;286;p2">
            <a:extLst>
              <a:ext uri="{FF2B5EF4-FFF2-40B4-BE49-F238E27FC236}">
                <a16:creationId xmlns:a16="http://schemas.microsoft.com/office/drawing/2014/main" id="{48919047-D258-04AC-AAC2-0DB603DCAA4F}"/>
              </a:ext>
            </a:extLst>
          </p:cNvPr>
          <p:cNvSpPr/>
          <p:nvPr/>
        </p:nvSpPr>
        <p:spPr>
          <a:xfrm>
            <a:off x="3837711" y="1136157"/>
            <a:ext cx="1731704" cy="1375054"/>
          </a:xfrm>
          <a:prstGeom prst="roundRect">
            <a:avLst>
              <a:gd name="adj" fmla="val 8069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lt1"/>
              </a:solidFill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11" name="Google Shape;287;p2">
            <a:extLst>
              <a:ext uri="{FF2B5EF4-FFF2-40B4-BE49-F238E27FC236}">
                <a16:creationId xmlns:a16="http://schemas.microsoft.com/office/drawing/2014/main" id="{BB19A1CC-32EE-BAD7-57F3-5B179425017D}"/>
              </a:ext>
            </a:extLst>
          </p:cNvPr>
          <p:cNvSpPr/>
          <p:nvPr/>
        </p:nvSpPr>
        <p:spPr>
          <a:xfrm>
            <a:off x="3539318" y="1466214"/>
            <a:ext cx="2351170" cy="4763811"/>
          </a:xfrm>
          <a:custGeom>
            <a:avLst/>
            <a:gdLst/>
            <a:ahLst/>
            <a:cxnLst/>
            <a:rect l="l" t="t" r="r" b="b"/>
            <a:pathLst>
              <a:path w="2404439" h="4763811" extrusionOk="0">
                <a:moveTo>
                  <a:pt x="180838" y="0"/>
                </a:moveTo>
                <a:lnTo>
                  <a:pt x="663826" y="0"/>
                </a:lnTo>
                <a:lnTo>
                  <a:pt x="671937" y="80460"/>
                </a:lnTo>
                <a:cubicBezTo>
                  <a:pt x="722409" y="327111"/>
                  <a:pt x="940647" y="512652"/>
                  <a:pt x="1202219" y="512652"/>
                </a:cubicBezTo>
                <a:cubicBezTo>
                  <a:pt x="1463792" y="512652"/>
                  <a:pt x="1682029" y="327111"/>
                  <a:pt x="1732501" y="80460"/>
                </a:cubicBezTo>
                <a:lnTo>
                  <a:pt x="1740612" y="0"/>
                </a:lnTo>
                <a:lnTo>
                  <a:pt x="2223601" y="0"/>
                </a:lnTo>
                <a:cubicBezTo>
                  <a:pt x="2323475" y="0"/>
                  <a:pt x="2404439" y="80964"/>
                  <a:pt x="2404439" y="180838"/>
                </a:cubicBezTo>
                <a:lnTo>
                  <a:pt x="2404439" y="4582973"/>
                </a:lnTo>
                <a:cubicBezTo>
                  <a:pt x="2404439" y="4682847"/>
                  <a:pt x="2323475" y="4763811"/>
                  <a:pt x="2223601" y="4763811"/>
                </a:cubicBezTo>
                <a:lnTo>
                  <a:pt x="180838" y="4763811"/>
                </a:lnTo>
                <a:cubicBezTo>
                  <a:pt x="80964" y="4763811"/>
                  <a:pt x="0" y="4682847"/>
                  <a:pt x="0" y="4582973"/>
                </a:cubicBezTo>
                <a:lnTo>
                  <a:pt x="0" y="180838"/>
                </a:lnTo>
                <a:cubicBezTo>
                  <a:pt x="0" y="80964"/>
                  <a:pt x="80964" y="0"/>
                  <a:pt x="180838" y="0"/>
                </a:cubicBez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600" dirty="0">
              <a:solidFill>
                <a:schemeClr val="lt1"/>
              </a:solidFill>
              <a:cs typeface="Arial"/>
              <a:sym typeface="Open Sans"/>
            </a:endParaRPr>
          </a:p>
        </p:txBody>
      </p:sp>
      <p:sp>
        <p:nvSpPr>
          <p:cNvPr id="12" name="Google Shape;288;p2">
            <a:extLst>
              <a:ext uri="{FF2B5EF4-FFF2-40B4-BE49-F238E27FC236}">
                <a16:creationId xmlns:a16="http://schemas.microsoft.com/office/drawing/2014/main" id="{21E8D8FC-320A-F0E6-A125-89713D6CBBD1}"/>
              </a:ext>
            </a:extLst>
          </p:cNvPr>
          <p:cNvSpPr txBox="1"/>
          <p:nvPr/>
        </p:nvSpPr>
        <p:spPr>
          <a:xfrm>
            <a:off x="3703643" y="2584888"/>
            <a:ext cx="201003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13" name="Google Shape;289;p2">
            <a:extLst>
              <a:ext uri="{FF2B5EF4-FFF2-40B4-BE49-F238E27FC236}">
                <a16:creationId xmlns:a16="http://schemas.microsoft.com/office/drawing/2014/main" id="{0E41288A-B057-6C49-3CCF-10D3414787BD}"/>
              </a:ext>
            </a:extLst>
          </p:cNvPr>
          <p:cNvSpPr txBox="1"/>
          <p:nvPr/>
        </p:nvSpPr>
        <p:spPr>
          <a:xfrm>
            <a:off x="3703643" y="2181158"/>
            <a:ext cx="2010031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chemeClr val="accent2"/>
                </a:solidFill>
                <a:ea typeface="Arial"/>
                <a:cs typeface="Arial"/>
                <a:sym typeface="Arial"/>
              </a:rPr>
              <a:t>WEAKNESS</a:t>
            </a:r>
            <a:endParaRPr b="1">
              <a:solidFill>
                <a:schemeClr val="accent2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Google Shape;290;p2">
            <a:extLst>
              <a:ext uri="{FF2B5EF4-FFF2-40B4-BE49-F238E27FC236}">
                <a16:creationId xmlns:a16="http://schemas.microsoft.com/office/drawing/2014/main" id="{1AFB2C17-53C3-1D19-FBCE-E1134827F140}"/>
              </a:ext>
            </a:extLst>
          </p:cNvPr>
          <p:cNvSpPr txBox="1"/>
          <p:nvPr/>
        </p:nvSpPr>
        <p:spPr>
          <a:xfrm>
            <a:off x="4276821" y="1235915"/>
            <a:ext cx="82011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W</a:t>
            </a:r>
            <a:endParaRPr sz="1100"/>
          </a:p>
        </p:txBody>
      </p:sp>
      <p:sp>
        <p:nvSpPr>
          <p:cNvPr id="15" name="Google Shape;291;p2">
            <a:extLst>
              <a:ext uri="{FF2B5EF4-FFF2-40B4-BE49-F238E27FC236}">
                <a16:creationId xmlns:a16="http://schemas.microsoft.com/office/drawing/2014/main" id="{2E7F99D7-A963-4AA2-E3D0-1F37AF557545}"/>
              </a:ext>
            </a:extLst>
          </p:cNvPr>
          <p:cNvSpPr/>
          <p:nvPr/>
        </p:nvSpPr>
        <p:spPr>
          <a:xfrm>
            <a:off x="6691282" y="1136157"/>
            <a:ext cx="1731704" cy="1375054"/>
          </a:xfrm>
          <a:prstGeom prst="roundRect">
            <a:avLst>
              <a:gd name="adj" fmla="val 8069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lt1"/>
              </a:solidFill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16" name="Google Shape;292;p2">
            <a:extLst>
              <a:ext uri="{FF2B5EF4-FFF2-40B4-BE49-F238E27FC236}">
                <a16:creationId xmlns:a16="http://schemas.microsoft.com/office/drawing/2014/main" id="{E0E73522-0E24-7B80-3C93-B6C0A7DF26EA}"/>
              </a:ext>
            </a:extLst>
          </p:cNvPr>
          <p:cNvSpPr/>
          <p:nvPr/>
        </p:nvSpPr>
        <p:spPr>
          <a:xfrm>
            <a:off x="6392889" y="1466214"/>
            <a:ext cx="2351170" cy="4763811"/>
          </a:xfrm>
          <a:custGeom>
            <a:avLst/>
            <a:gdLst/>
            <a:ahLst/>
            <a:cxnLst/>
            <a:rect l="l" t="t" r="r" b="b"/>
            <a:pathLst>
              <a:path w="2404439" h="4763811" extrusionOk="0">
                <a:moveTo>
                  <a:pt x="180838" y="0"/>
                </a:moveTo>
                <a:lnTo>
                  <a:pt x="663826" y="0"/>
                </a:lnTo>
                <a:lnTo>
                  <a:pt x="671937" y="80460"/>
                </a:lnTo>
                <a:cubicBezTo>
                  <a:pt x="722409" y="327111"/>
                  <a:pt x="940647" y="512652"/>
                  <a:pt x="1202219" y="512652"/>
                </a:cubicBezTo>
                <a:cubicBezTo>
                  <a:pt x="1463792" y="512652"/>
                  <a:pt x="1682029" y="327111"/>
                  <a:pt x="1732501" y="80460"/>
                </a:cubicBezTo>
                <a:lnTo>
                  <a:pt x="1740612" y="0"/>
                </a:lnTo>
                <a:lnTo>
                  <a:pt x="2223601" y="0"/>
                </a:lnTo>
                <a:cubicBezTo>
                  <a:pt x="2323475" y="0"/>
                  <a:pt x="2404439" y="80964"/>
                  <a:pt x="2404439" y="180838"/>
                </a:cubicBezTo>
                <a:lnTo>
                  <a:pt x="2404439" y="4582973"/>
                </a:lnTo>
                <a:cubicBezTo>
                  <a:pt x="2404439" y="4682847"/>
                  <a:pt x="2323475" y="4763811"/>
                  <a:pt x="2223601" y="4763811"/>
                </a:cubicBezTo>
                <a:lnTo>
                  <a:pt x="180838" y="4763811"/>
                </a:lnTo>
                <a:cubicBezTo>
                  <a:pt x="80964" y="4763811"/>
                  <a:pt x="0" y="4682847"/>
                  <a:pt x="0" y="4582973"/>
                </a:cubicBezTo>
                <a:lnTo>
                  <a:pt x="0" y="180838"/>
                </a:lnTo>
                <a:cubicBezTo>
                  <a:pt x="0" y="80964"/>
                  <a:pt x="80964" y="0"/>
                  <a:pt x="180838" y="0"/>
                </a:cubicBez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600" dirty="0">
              <a:solidFill>
                <a:schemeClr val="lt1"/>
              </a:solidFill>
              <a:cs typeface="Arial"/>
              <a:sym typeface="Open Sans"/>
            </a:endParaRPr>
          </a:p>
        </p:txBody>
      </p:sp>
      <p:sp>
        <p:nvSpPr>
          <p:cNvPr id="17" name="Google Shape;293;p2">
            <a:extLst>
              <a:ext uri="{FF2B5EF4-FFF2-40B4-BE49-F238E27FC236}">
                <a16:creationId xmlns:a16="http://schemas.microsoft.com/office/drawing/2014/main" id="{29853853-1840-8ED9-9652-C2E7AD6A92AC}"/>
              </a:ext>
            </a:extLst>
          </p:cNvPr>
          <p:cNvSpPr txBox="1"/>
          <p:nvPr/>
        </p:nvSpPr>
        <p:spPr>
          <a:xfrm>
            <a:off x="6557214" y="2584887"/>
            <a:ext cx="201003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18" name="Google Shape;294;p2">
            <a:extLst>
              <a:ext uri="{FF2B5EF4-FFF2-40B4-BE49-F238E27FC236}">
                <a16:creationId xmlns:a16="http://schemas.microsoft.com/office/drawing/2014/main" id="{7DF7AB15-B1D4-E5A8-31B4-5BD48136E3B0}"/>
              </a:ext>
            </a:extLst>
          </p:cNvPr>
          <p:cNvSpPr txBox="1"/>
          <p:nvPr/>
        </p:nvSpPr>
        <p:spPr>
          <a:xfrm>
            <a:off x="6557214" y="2181156"/>
            <a:ext cx="2010031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accent4"/>
                </a:solidFill>
                <a:ea typeface="Arial"/>
                <a:cs typeface="Arial"/>
                <a:sym typeface="Arial"/>
              </a:rPr>
              <a:t>OPPORTUNITY</a:t>
            </a:r>
            <a:endParaRPr b="1" dirty="0">
              <a:solidFill>
                <a:schemeClr val="accent4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Google Shape;295;p2">
            <a:extLst>
              <a:ext uri="{FF2B5EF4-FFF2-40B4-BE49-F238E27FC236}">
                <a16:creationId xmlns:a16="http://schemas.microsoft.com/office/drawing/2014/main" id="{2008558F-520D-C71D-E212-B8EA8ABB3125}"/>
              </a:ext>
            </a:extLst>
          </p:cNvPr>
          <p:cNvSpPr txBox="1"/>
          <p:nvPr/>
        </p:nvSpPr>
        <p:spPr>
          <a:xfrm>
            <a:off x="7184755" y="1235915"/>
            <a:ext cx="707251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O</a:t>
            </a:r>
            <a:endParaRPr sz="1100"/>
          </a:p>
        </p:txBody>
      </p:sp>
      <p:sp>
        <p:nvSpPr>
          <p:cNvPr id="20" name="Google Shape;296;p2">
            <a:extLst>
              <a:ext uri="{FF2B5EF4-FFF2-40B4-BE49-F238E27FC236}">
                <a16:creationId xmlns:a16="http://schemas.microsoft.com/office/drawing/2014/main" id="{F487C8DA-CE50-4B96-E15D-97C30152578E}"/>
              </a:ext>
            </a:extLst>
          </p:cNvPr>
          <p:cNvSpPr/>
          <p:nvPr/>
        </p:nvSpPr>
        <p:spPr>
          <a:xfrm>
            <a:off x="9544852" y="1136157"/>
            <a:ext cx="1731704" cy="1375054"/>
          </a:xfrm>
          <a:prstGeom prst="roundRect">
            <a:avLst>
              <a:gd name="adj" fmla="val 8069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lt1"/>
              </a:solidFill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21" name="Google Shape;297;p2">
            <a:extLst>
              <a:ext uri="{FF2B5EF4-FFF2-40B4-BE49-F238E27FC236}">
                <a16:creationId xmlns:a16="http://schemas.microsoft.com/office/drawing/2014/main" id="{CC53AEEE-3FA0-5D35-B33D-ECA6A2C6ADD1}"/>
              </a:ext>
            </a:extLst>
          </p:cNvPr>
          <p:cNvSpPr/>
          <p:nvPr/>
        </p:nvSpPr>
        <p:spPr>
          <a:xfrm>
            <a:off x="9246459" y="1466214"/>
            <a:ext cx="2351170" cy="4763811"/>
          </a:xfrm>
          <a:custGeom>
            <a:avLst/>
            <a:gdLst/>
            <a:ahLst/>
            <a:cxnLst/>
            <a:rect l="l" t="t" r="r" b="b"/>
            <a:pathLst>
              <a:path w="2404439" h="4763811" extrusionOk="0">
                <a:moveTo>
                  <a:pt x="180838" y="0"/>
                </a:moveTo>
                <a:lnTo>
                  <a:pt x="663826" y="0"/>
                </a:lnTo>
                <a:lnTo>
                  <a:pt x="671937" y="80460"/>
                </a:lnTo>
                <a:cubicBezTo>
                  <a:pt x="722409" y="327111"/>
                  <a:pt x="940647" y="512652"/>
                  <a:pt x="1202219" y="512652"/>
                </a:cubicBezTo>
                <a:cubicBezTo>
                  <a:pt x="1463792" y="512652"/>
                  <a:pt x="1682029" y="327111"/>
                  <a:pt x="1732501" y="80460"/>
                </a:cubicBezTo>
                <a:lnTo>
                  <a:pt x="1740612" y="0"/>
                </a:lnTo>
                <a:lnTo>
                  <a:pt x="2223601" y="0"/>
                </a:lnTo>
                <a:cubicBezTo>
                  <a:pt x="2323475" y="0"/>
                  <a:pt x="2404439" y="80964"/>
                  <a:pt x="2404439" y="180838"/>
                </a:cubicBezTo>
                <a:lnTo>
                  <a:pt x="2404439" y="4582973"/>
                </a:lnTo>
                <a:cubicBezTo>
                  <a:pt x="2404439" y="4682847"/>
                  <a:pt x="2323475" y="4763811"/>
                  <a:pt x="2223601" y="4763811"/>
                </a:cubicBezTo>
                <a:lnTo>
                  <a:pt x="180838" y="4763811"/>
                </a:lnTo>
                <a:cubicBezTo>
                  <a:pt x="80964" y="4763811"/>
                  <a:pt x="0" y="4682847"/>
                  <a:pt x="0" y="4582973"/>
                </a:cubicBezTo>
                <a:lnTo>
                  <a:pt x="0" y="180838"/>
                </a:lnTo>
                <a:cubicBezTo>
                  <a:pt x="0" y="80964"/>
                  <a:pt x="80964" y="0"/>
                  <a:pt x="180838" y="0"/>
                </a:cubicBezTo>
                <a:close/>
              </a:path>
            </a:pathLst>
          </a:custGeom>
          <a:solidFill>
            <a:schemeClr val="bg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sz="1600" dirty="0">
              <a:solidFill>
                <a:schemeClr val="dk1"/>
              </a:solidFill>
              <a:cs typeface="Arial"/>
              <a:sym typeface="Open Sans"/>
            </a:endParaRPr>
          </a:p>
        </p:txBody>
      </p:sp>
      <p:sp>
        <p:nvSpPr>
          <p:cNvPr id="22" name="Google Shape;298;p2">
            <a:extLst>
              <a:ext uri="{FF2B5EF4-FFF2-40B4-BE49-F238E27FC236}">
                <a16:creationId xmlns:a16="http://schemas.microsoft.com/office/drawing/2014/main" id="{5249575D-CD3E-0F2C-CB10-43AE8138A98B}"/>
              </a:ext>
            </a:extLst>
          </p:cNvPr>
          <p:cNvSpPr txBox="1"/>
          <p:nvPr/>
        </p:nvSpPr>
        <p:spPr>
          <a:xfrm>
            <a:off x="9410784" y="2584887"/>
            <a:ext cx="201003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9" name="Google Shape;299;p2">
            <a:extLst>
              <a:ext uri="{FF2B5EF4-FFF2-40B4-BE49-F238E27FC236}">
                <a16:creationId xmlns:a16="http://schemas.microsoft.com/office/drawing/2014/main" id="{40B39B1A-540E-D793-1023-A55D4E7F686A}"/>
              </a:ext>
            </a:extLst>
          </p:cNvPr>
          <p:cNvSpPr txBox="1"/>
          <p:nvPr/>
        </p:nvSpPr>
        <p:spPr>
          <a:xfrm>
            <a:off x="9410784" y="2181156"/>
            <a:ext cx="2010031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chemeClr val="accent5"/>
                </a:solidFill>
                <a:ea typeface="Arial"/>
                <a:cs typeface="Arial"/>
                <a:sym typeface="Arial"/>
              </a:rPr>
              <a:t>THREATS</a:t>
            </a:r>
            <a:endParaRPr b="1">
              <a:solidFill>
                <a:schemeClr val="accent5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0" name="Google Shape;300;p2">
            <a:extLst>
              <a:ext uri="{FF2B5EF4-FFF2-40B4-BE49-F238E27FC236}">
                <a16:creationId xmlns:a16="http://schemas.microsoft.com/office/drawing/2014/main" id="{BBC0D1C7-85D1-F6C4-B9DF-78BC0F27437B}"/>
              </a:ext>
            </a:extLst>
          </p:cNvPr>
          <p:cNvSpPr txBox="1"/>
          <p:nvPr/>
        </p:nvSpPr>
        <p:spPr>
          <a:xfrm>
            <a:off x="10092689" y="1235915"/>
            <a:ext cx="594393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lt1"/>
                </a:solidFill>
                <a:ea typeface="Arial"/>
                <a:cs typeface="Arial"/>
                <a:sym typeface="Arial"/>
              </a:rPr>
              <a:t>T</a:t>
            </a:r>
            <a:endParaRPr sz="1100"/>
          </a:p>
        </p:txBody>
      </p:sp>
      <p:sp>
        <p:nvSpPr>
          <p:cNvPr id="42" name="Slide Number Placeholder 2">
            <a:extLst>
              <a:ext uri="{FF2B5EF4-FFF2-40B4-BE49-F238E27FC236}">
                <a16:creationId xmlns:a16="http://schemas.microsoft.com/office/drawing/2014/main" id="{7DDC0B56-F2D8-F62D-AF48-C8A1A9E21C7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4314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4</TotalTime>
  <Words>23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Open Sans</vt:lpstr>
      <vt:lpstr>Roboto</vt:lpstr>
      <vt:lpstr>Wingdings</vt:lpstr>
      <vt:lpstr>Office Theme</vt:lpstr>
      <vt:lpstr>think-cell Slide</vt:lpstr>
      <vt:lpstr>Slide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96</cp:revision>
  <dcterms:created xsi:type="dcterms:W3CDTF">2021-03-31T02:49:57Z</dcterms:created>
  <dcterms:modified xsi:type="dcterms:W3CDTF">2025-10-16T10:56:00Z</dcterms:modified>
  <cp:category/>
</cp:coreProperties>
</file>